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7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8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3" r:id="rId5"/>
    <p:sldMasterId id="2147483820" r:id="rId6"/>
    <p:sldMasterId id="2147483829" r:id="rId7"/>
    <p:sldMasterId id="2147483837" r:id="rId8"/>
    <p:sldMasterId id="2147483848" r:id="rId9"/>
    <p:sldMasterId id="2147483854" r:id="rId10"/>
    <p:sldMasterId id="2147483857" r:id="rId11"/>
    <p:sldMasterId id="2147483863" r:id="rId12"/>
  </p:sldMasterIdLst>
  <p:notesMasterIdLst>
    <p:notesMasterId r:id="rId21"/>
  </p:notesMasterIdLst>
  <p:sldIdLst>
    <p:sldId id="259" r:id="rId13"/>
    <p:sldId id="286" r:id="rId14"/>
    <p:sldId id="288" r:id="rId15"/>
    <p:sldId id="291" r:id="rId16"/>
    <p:sldId id="289" r:id="rId17"/>
    <p:sldId id="290" r:id="rId18"/>
    <p:sldId id="292" r:id="rId19"/>
    <p:sldId id="293" r:id="rId20"/>
  </p:sldIdLst>
  <p:sldSz cx="12192000" cy="6858000"/>
  <p:notesSz cx="6865938" cy="99964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jamin Krieger" initials="BK" lastIdx="1" clrIdx="0">
    <p:extLst>
      <p:ext uri="{19B8F6BF-5375-455C-9EA6-DF929625EA0E}">
        <p15:presenceInfo xmlns:p15="http://schemas.microsoft.com/office/powerpoint/2012/main" userId="Benjamin Krieger" providerId="None"/>
      </p:ext>
    </p:extLst>
  </p:cmAuthor>
  <p:cmAuthor id="2" name="Felix Kriedemann" initials="FK" lastIdx="1" clrIdx="1">
    <p:extLst>
      <p:ext uri="{19B8F6BF-5375-455C-9EA6-DF929625EA0E}">
        <p15:presenceInfo xmlns:p15="http://schemas.microsoft.com/office/powerpoint/2012/main" userId="Felix Kriedeman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43A3D"/>
    <a:srgbClr val="14AC00"/>
    <a:srgbClr val="FF0066"/>
    <a:srgbClr val="FFCCFF"/>
    <a:srgbClr val="CDCDCD"/>
    <a:srgbClr val="00578E"/>
    <a:srgbClr val="67737A"/>
    <a:srgbClr val="580000"/>
    <a:srgbClr val="8A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686DF1-6A72-449A-BDFF-92963438842F}" v="21" dt="2020-11-30T11:19:26.0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395" autoAdjust="0"/>
  </p:normalViewPr>
  <p:slideViewPr>
    <p:cSldViewPr snapToGrid="0">
      <p:cViewPr varScale="1">
        <p:scale>
          <a:sx n="107" d="100"/>
          <a:sy n="107" d="100"/>
        </p:scale>
        <p:origin x="750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501561"/>
          </a:xfrm>
          <a:prstGeom prst="rect">
            <a:avLst/>
          </a:prstGeom>
        </p:spPr>
        <p:txBody>
          <a:bodyPr vert="horz" lIns="92190" tIns="46095" rIns="92190" bIns="4609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9110" y="0"/>
            <a:ext cx="2975240" cy="501561"/>
          </a:xfrm>
          <a:prstGeom prst="rect">
            <a:avLst/>
          </a:prstGeom>
        </p:spPr>
        <p:txBody>
          <a:bodyPr vert="horz" lIns="92190" tIns="46095" rIns="92190" bIns="46095" rtlCol="0"/>
          <a:lstStyle>
            <a:lvl1pPr algn="r">
              <a:defRPr sz="1200"/>
            </a:lvl1pPr>
          </a:lstStyle>
          <a:p>
            <a:fld id="{AA587C4C-05B8-4328-B308-0263D0A84ECE}" type="datetimeFigureOut">
              <a:rPr lang="en-GB" smtClean="0"/>
              <a:t>01/1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50950"/>
            <a:ext cx="5995988" cy="3371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90" tIns="46095" rIns="92190" bIns="4609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595" y="4810810"/>
            <a:ext cx="5492750" cy="3936117"/>
          </a:xfrm>
          <a:prstGeom prst="rect">
            <a:avLst/>
          </a:prstGeom>
        </p:spPr>
        <p:txBody>
          <a:bodyPr vert="horz" lIns="92190" tIns="46095" rIns="92190" bIns="4609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4930"/>
            <a:ext cx="2975240" cy="501560"/>
          </a:xfrm>
          <a:prstGeom prst="rect">
            <a:avLst/>
          </a:prstGeom>
        </p:spPr>
        <p:txBody>
          <a:bodyPr vert="horz" lIns="92190" tIns="46095" rIns="92190" bIns="4609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9110" y="9494930"/>
            <a:ext cx="2975240" cy="501560"/>
          </a:xfrm>
          <a:prstGeom prst="rect">
            <a:avLst/>
          </a:prstGeom>
        </p:spPr>
        <p:txBody>
          <a:bodyPr vert="horz" lIns="92190" tIns="46095" rIns="92190" bIns="46095" rtlCol="0" anchor="b"/>
          <a:lstStyle>
            <a:lvl1pPr algn="r">
              <a:defRPr sz="1200"/>
            </a:lvl1pPr>
          </a:lstStyle>
          <a:p>
            <a:fld id="{93BE2369-6DB4-4B0B-9492-4D0A64C2DB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6979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25878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5352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120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393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921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359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164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BE2369-6DB4-4B0B-9492-4D0A64C2DB8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91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BCBB1-CDB5-40FF-A9DF-3BFD033E82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2168" y="3498744"/>
            <a:ext cx="10697031" cy="141763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ts val="5200"/>
              </a:lnSpc>
              <a:defRPr sz="4800">
                <a:latin typeface="+mj-lt"/>
              </a:defRPr>
            </a:lvl1pPr>
          </a:lstStyle>
          <a:p>
            <a:r>
              <a:rPr lang="sl-SI"/>
              <a:t>Click to edit the title of the presentation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FED768-FECF-403D-A61E-596817A225C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2169" y="5011242"/>
            <a:ext cx="10697029" cy="117316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l-SI"/>
              <a:t>Click to edit the subtitle of the presentation</a:t>
            </a:r>
          </a:p>
          <a:p>
            <a:r>
              <a:rPr lang="sl-SI"/>
              <a:t>Brussels, 10.10.2019 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711233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10325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2143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100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930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4000" b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latin typeface="Raleway" panose="020B05030301010600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10325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2143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477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5" y="4406926"/>
            <a:ext cx="10363200" cy="1362075"/>
          </a:xfrm>
        </p:spPr>
        <p:txBody>
          <a:bodyPr anchor="t">
            <a:normAutofit/>
          </a:bodyPr>
          <a:lstStyle>
            <a:lvl1pPr algn="l">
              <a:defRPr sz="3400" b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Cliquez pour modifier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5" y="3884677"/>
            <a:ext cx="10363200" cy="5222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1" baseline="0">
                <a:solidFill>
                  <a:schemeClr val="tx2"/>
                </a:solidFill>
                <a:latin typeface="+mn-lt"/>
              </a:defRPr>
            </a:lvl1pPr>
            <a:lvl2pPr marL="45660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43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0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6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8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Espace réservé pour une image  7"/>
          <p:cNvSpPr>
            <a:spLocks noGrp="1" noChangeAspect="1"/>
          </p:cNvSpPr>
          <p:nvPr>
            <p:ph type="pic" sz="quarter" idx="13"/>
          </p:nvPr>
        </p:nvSpPr>
        <p:spPr>
          <a:xfrm>
            <a:off x="978521" y="552709"/>
            <a:ext cx="4050000" cy="30375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endParaRPr lang="en-GB" noProof="0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10325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2143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5497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196752"/>
            <a:ext cx="12192000" cy="496855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587375" y="548680"/>
            <a:ext cx="10764838" cy="504056"/>
          </a:xfrm>
        </p:spPr>
        <p:txBody>
          <a:bodyPr anchor="b">
            <a:noAutofit/>
          </a:bodyPr>
          <a:lstStyle>
            <a:lvl1pPr algn="l">
              <a:defRPr sz="2800" b="1" i="0" spc="200" baseline="0">
                <a:solidFill>
                  <a:srgbClr val="40404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ENTER YOUR HEADLINE IN HERE</a:t>
            </a:r>
            <a:endParaRPr lang="de-DE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87375" y="1268760"/>
            <a:ext cx="10764838" cy="43208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>
                <a:solidFill>
                  <a:srgbClr val="2B2F36"/>
                </a:solidFill>
              </a:defRPr>
            </a:lvl1pPr>
            <a:lvl2pPr>
              <a:defRPr sz="2400">
                <a:solidFill>
                  <a:srgbClr val="2B2F36"/>
                </a:solidFill>
              </a:defRPr>
            </a:lvl2pPr>
            <a:lvl3pPr>
              <a:defRPr sz="2000">
                <a:solidFill>
                  <a:srgbClr val="2B2F36"/>
                </a:solidFill>
              </a:defRPr>
            </a:lvl3pPr>
            <a:lvl4pPr>
              <a:defRPr sz="1800">
                <a:solidFill>
                  <a:srgbClr val="2B2F36"/>
                </a:solidFill>
              </a:defRPr>
            </a:lvl4pPr>
            <a:lvl5pPr>
              <a:defRPr sz="1800">
                <a:solidFill>
                  <a:srgbClr val="2B2F36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3018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8ACB2-C3E2-44C7-BDAB-1B1A549D8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1B88C6-ED42-4310-A61D-C6DF06553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541C6-BB9C-4E0F-A9A2-3A34F5C927E3}" type="datetimeFigureOut">
              <a:rPr lang="en-GB" smtClean="0"/>
              <a:t>01/12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6E9F90-BD7A-4D5C-93D6-43A61DB0C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57AA6F-1847-426B-B5D6-50E8C100B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B8E59A-3FDC-47DD-8E3C-69E113F2348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2771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96572C32-D564-4742-8BDE-4374C00E82FC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343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: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423358"/>
            <a:ext cx="11040533" cy="476178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>
              <a:defRPr sz="20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1800">
                <a:solidFill>
                  <a:schemeClr val="tx1">
                    <a:lumMod val="75000"/>
                  </a:schemeClr>
                </a:solidFill>
                <a:latin typeface="+mn-lt"/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229461"/>
            <a:ext cx="9590856" cy="5555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HERE TO EDIT TITLE</a:t>
            </a:r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753856"/>
            <a:ext cx="9590088" cy="4167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Subtitle</a:t>
            </a:r>
            <a:endParaRPr lang="en-GB">
              <a:solidFill>
                <a:schemeClr val="accent3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335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39630"/>
            <a:ext cx="515912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n-lt"/>
              </a:defRPr>
            </a:lvl1pPr>
            <a:lvl2pPr>
              <a:defRPr sz="1599">
                <a:latin typeface="+mn-lt"/>
              </a:defRPr>
            </a:lvl2pPr>
            <a:lvl3pPr>
              <a:defRPr sz="1399">
                <a:latin typeface="+mn-lt"/>
              </a:defRPr>
            </a:lvl3pPr>
            <a:lvl4pPr>
              <a:defRPr sz="1299">
                <a:latin typeface="+mn-lt"/>
              </a:defRPr>
            </a:lvl4pPr>
            <a:lvl5pPr>
              <a:defRPr sz="1299">
                <a:latin typeface="+mn-lt"/>
              </a:defRPr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n-lt"/>
              </a:defRPr>
            </a:lvl1pPr>
            <a:lvl2pPr>
              <a:defRPr sz="1599">
                <a:latin typeface="+mn-lt"/>
              </a:defRPr>
            </a:lvl2pPr>
            <a:lvl3pPr>
              <a:defRPr sz="1399">
                <a:latin typeface="+mn-lt"/>
              </a:defRPr>
            </a:lvl3pPr>
            <a:lvl4pPr>
              <a:defRPr sz="1299">
                <a:latin typeface="+mn-lt"/>
              </a:defRPr>
            </a:lvl4pPr>
            <a:lvl5pPr>
              <a:defRPr sz="1299">
                <a:latin typeface="+mn-lt"/>
              </a:defRPr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lang="en-GB"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184A3C1B-39CB-4A40-B13A-458C07FEE233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471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31.10.2018 08:56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Printed 31.10.2018 07:51 W. Europ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auto">
          <a:xfrm>
            <a:off x="3095035" y="191793"/>
            <a:ext cx="222122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20053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7E20FA3-75EB-4075-871F-28FCD3908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6" imgW="410" imgH="409" progId="TCLayout.ActiveDocument.1">
                  <p:embed/>
                </p:oleObj>
              </mc:Choice>
              <mc:Fallback>
                <p:oleObj name="think-cell Slide" r:id="rId6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7E20FA3-75EB-4075-871F-28FCD39083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C4B03F-F28B-4C93-BACE-87CA159ABA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61987" y="630083"/>
            <a:ext cx="11725484" cy="31402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77139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-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376382" y="2641022"/>
            <a:ext cx="9405793" cy="1359478"/>
          </a:xfrm>
          <a:prstGeom prst="rect">
            <a:avLst/>
          </a:prstGeom>
        </p:spPr>
        <p:txBody>
          <a:bodyPr vert="horz" lIns="360000" tIns="45720" rIns="360000" bIns="45720" rtlCol="0" anchor="b">
            <a:normAutofit/>
          </a:bodyPr>
          <a:lstStyle>
            <a:lvl1pPr algn="l">
              <a:defRPr sz="4000">
                <a:solidFill>
                  <a:schemeClr val="tx2">
                    <a:lumMod val="7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sl-SI"/>
              <a:t>Click here to edit the section title</a:t>
            </a:r>
            <a:r>
              <a:rPr lang="en-US"/>
              <a:t> longer title </a:t>
            </a:r>
            <a:endParaRPr lang="nl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D2CF94-D8D5-45C0-99FF-BD2DAF3826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27346" y="5080809"/>
            <a:ext cx="2449513" cy="6477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21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For Information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2730577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33963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-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376382" y="2641022"/>
            <a:ext cx="9405793" cy="1359478"/>
          </a:xfrm>
          <a:prstGeom prst="rect">
            <a:avLst/>
          </a:prstGeom>
        </p:spPr>
        <p:txBody>
          <a:bodyPr vert="horz" lIns="360000" tIns="45720" rIns="360000" bIns="45720" rtlCol="0" anchor="b">
            <a:normAutofit/>
          </a:bodyPr>
          <a:lstStyle>
            <a:lvl1pPr algn="l">
              <a:defRPr sz="4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l-SI"/>
              <a:t>Click here to edit the section title</a:t>
            </a:r>
            <a:r>
              <a:rPr lang="en-US"/>
              <a:t> longer title 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66118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Layout: Font Calib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571348"/>
            <a:ext cx="11040533" cy="445004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4000" b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874622"/>
            <a:ext cx="9590088" cy="41679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7322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96572C32-D564-4742-8BDE-4374C00E82FC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47929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: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423358"/>
            <a:ext cx="11040533" cy="476178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>
              <a:defRPr sz="20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1800">
                <a:solidFill>
                  <a:schemeClr val="tx1">
                    <a:lumMod val="75000"/>
                  </a:schemeClr>
                </a:solidFill>
                <a:latin typeface="+mn-lt"/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229461"/>
            <a:ext cx="9590856" cy="5555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HERE TO EDIT TITLE</a:t>
            </a:r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753856"/>
            <a:ext cx="9590088" cy="4167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Subtitle</a:t>
            </a:r>
            <a:endParaRPr lang="en-GB">
              <a:solidFill>
                <a:schemeClr val="accent3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140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39630"/>
            <a:ext cx="515912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lang="en-GB"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184A3C1B-39CB-4A40-B13A-458C07FEE233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1432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96572C32-D564-4742-8BDE-4374C00E82FC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557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: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423358"/>
            <a:ext cx="11040533" cy="476178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>
              <a:defRPr sz="20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1800">
                <a:solidFill>
                  <a:schemeClr val="tx1">
                    <a:lumMod val="75000"/>
                  </a:schemeClr>
                </a:solidFill>
                <a:latin typeface="+mn-lt"/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229461"/>
            <a:ext cx="9590856" cy="5555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HERE TO EDIT TITLE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753856"/>
            <a:ext cx="9590088" cy="4167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Subtitle</a:t>
            </a:r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6124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39630"/>
            <a:ext cx="515912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/>
            </a:lvl1pPr>
            <a:lvl2pPr>
              <a:defRPr sz="1599"/>
            </a:lvl2pPr>
            <a:lvl3pPr>
              <a:defRPr sz="1399"/>
            </a:lvl3pPr>
            <a:lvl4pPr>
              <a:defRPr sz="1299"/>
            </a:lvl4pPr>
            <a:lvl5pPr>
              <a:defRPr sz="1299"/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lang="en-GB"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GB" dirty="0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184A3C1B-39CB-4A40-B13A-458C07FEE233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8809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 in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587375" y="548680"/>
            <a:ext cx="10764838" cy="504056"/>
          </a:xfrm>
        </p:spPr>
        <p:txBody>
          <a:bodyPr anchor="b">
            <a:noAutofit/>
          </a:bodyPr>
          <a:lstStyle>
            <a:lvl1pPr algn="l">
              <a:defRPr sz="2800" b="1" i="0" spc="200" baseline="0">
                <a:solidFill>
                  <a:srgbClr val="40404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NTER YOUR HEADLINE IN HERE</a:t>
            </a:r>
            <a:endParaRPr lang="de-DE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3151" y="1268760"/>
            <a:ext cx="10749062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7339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10325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2143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5004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39630"/>
            <a:ext cx="515912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n-lt"/>
              </a:defRPr>
            </a:lvl1pPr>
            <a:lvl2pPr>
              <a:defRPr sz="1599">
                <a:latin typeface="+mn-lt"/>
              </a:defRPr>
            </a:lvl2pPr>
            <a:lvl3pPr>
              <a:defRPr sz="1399">
                <a:latin typeface="+mn-lt"/>
              </a:defRPr>
            </a:lvl3pPr>
            <a:lvl4pPr>
              <a:defRPr sz="1299">
                <a:latin typeface="+mn-lt"/>
              </a:defRPr>
            </a:lvl4pPr>
            <a:lvl5pPr>
              <a:defRPr sz="1299">
                <a:latin typeface="+mn-lt"/>
              </a:defRPr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n-lt"/>
              </a:defRPr>
            </a:lvl1pPr>
            <a:lvl2pPr>
              <a:defRPr sz="1599">
                <a:latin typeface="+mn-lt"/>
              </a:defRPr>
            </a:lvl2pPr>
            <a:lvl3pPr>
              <a:defRPr sz="1399">
                <a:latin typeface="+mn-lt"/>
              </a:defRPr>
            </a:lvl3pPr>
            <a:lvl4pPr>
              <a:defRPr sz="1299">
                <a:latin typeface="+mn-lt"/>
              </a:defRPr>
            </a:lvl4pPr>
            <a:lvl5pPr>
              <a:defRPr sz="1299">
                <a:latin typeface="+mn-lt"/>
              </a:defRPr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lang="en-GB"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184A3C1B-39CB-4A40-B13A-458C07FEE233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368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24418" y="1196976"/>
            <a:ext cx="11040533" cy="482441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96572C32-D564-4742-8BDE-4374C00E82FC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911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: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423358"/>
            <a:ext cx="11040533" cy="476178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  <a:lvl2pPr>
              <a:defRPr sz="2000">
                <a:solidFill>
                  <a:schemeClr val="tx1">
                    <a:lumMod val="75000"/>
                  </a:schemeClr>
                </a:solidFill>
                <a:latin typeface="+mn-lt"/>
              </a:defRPr>
            </a:lvl2pPr>
            <a:lvl3pPr>
              <a:defRPr sz="1800">
                <a:solidFill>
                  <a:schemeClr val="tx1">
                    <a:lumMod val="75000"/>
                  </a:schemeClr>
                </a:solidFill>
                <a:latin typeface="+mn-lt"/>
              </a:defRPr>
            </a:lvl3pPr>
            <a:lvl4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>
              <a:defRPr sz="1600"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229461"/>
            <a:ext cx="9590856" cy="55554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HERE TO EDIT TITLE</a:t>
            </a:r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753856"/>
            <a:ext cx="9590088" cy="4167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Subtitle</a:t>
            </a:r>
            <a:endParaRPr lang="en-GB">
              <a:solidFill>
                <a:schemeClr val="accent3"/>
              </a:solidFill>
            </a:endParaRP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1747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39630"/>
            <a:ext cx="515912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j-lt"/>
              </a:defRPr>
            </a:lvl1pPr>
            <a:lvl2pPr>
              <a:defRPr sz="1599">
                <a:latin typeface="+mj-lt"/>
              </a:defRPr>
            </a:lvl2pPr>
            <a:lvl3pPr>
              <a:defRPr sz="1399">
                <a:latin typeface="+mj-lt"/>
              </a:defRPr>
            </a:lvl3pPr>
            <a:lvl4pPr>
              <a:defRPr sz="1299">
                <a:latin typeface="+mj-lt"/>
              </a:defRPr>
            </a:lvl4pPr>
            <a:lvl5pPr>
              <a:defRPr sz="1299">
                <a:latin typeface="+mj-lt"/>
              </a:defRPr>
            </a:lvl5pPr>
            <a:lvl6pPr>
              <a:defRPr sz="1299"/>
            </a:lvl6pPr>
            <a:lvl7pPr>
              <a:defRPr sz="1299"/>
            </a:lvl7pPr>
            <a:lvl8pPr>
              <a:defRPr sz="1299" baseline="0"/>
            </a:lvl8pPr>
            <a:lvl9pPr>
              <a:defRPr sz="1299" baseline="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8104" y="1439630"/>
            <a:ext cx="5384799" cy="4630808"/>
          </a:xfrm>
          <a:prstGeom prst="rect">
            <a:avLst/>
          </a:prstGeom>
        </p:spPr>
        <p:txBody>
          <a:bodyPr/>
          <a:lstStyle>
            <a:lvl1pPr>
              <a:defRPr sz="1799">
                <a:latin typeface="+mn-lt"/>
              </a:defRPr>
            </a:lvl1pPr>
            <a:lvl2pPr>
              <a:defRPr sz="1599">
                <a:latin typeface="+mn-lt"/>
              </a:defRPr>
            </a:lvl2pPr>
            <a:lvl3pPr>
              <a:defRPr sz="1399">
                <a:latin typeface="+mn-lt"/>
              </a:defRPr>
            </a:lvl3pPr>
            <a:lvl4pPr>
              <a:defRPr sz="1299">
                <a:latin typeface="+mn-lt"/>
              </a:defRPr>
            </a:lvl4pPr>
            <a:lvl5pPr>
              <a:defRPr sz="1299">
                <a:latin typeface="+mn-lt"/>
              </a:defRPr>
            </a:lvl5pPr>
            <a:lvl6pPr>
              <a:defRPr sz="1299" baseline="0"/>
            </a:lvl6pPr>
            <a:lvl7pPr>
              <a:defRPr sz="1299" baseline="0"/>
            </a:lvl7pPr>
            <a:lvl8pPr>
              <a:defRPr sz="1299" baseline="0"/>
            </a:lvl8pPr>
            <a:lvl9pPr>
              <a:defRPr sz="129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lang="en-GB" sz="3400" b="1" cap="all" baseline="0">
                <a:gradFill>
                  <a:gsLst>
                    <a:gs pos="0">
                      <a:srgbClr val="011744"/>
                    </a:gs>
                    <a:gs pos="100000">
                      <a:srgbClr val="276F9E"/>
                    </a:gs>
                  </a:gsLst>
                  <a:lin ang="0" scaled="0"/>
                </a:gradFill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6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34444" y="874622"/>
            <a:ext cx="9590088" cy="4157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 lang="en-GB" sz="2400" b="0">
                <a:solidFill>
                  <a:schemeClr val="accent4"/>
                </a:solidFill>
                <a:latin typeface="+mj-lt"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None/>
              <a:tabLst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4"/>
          </p:nvPr>
        </p:nvSpPr>
        <p:spPr>
          <a:xfrm>
            <a:off x="9410700" y="6477000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184A3C1B-39CB-4A40-B13A-458C07FEE233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5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0054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Layout: Font Calibr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09600" y="1571348"/>
            <a:ext cx="11040533" cy="445004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8" name="Title Placeholder 2"/>
          <p:cNvSpPr>
            <a:spLocks noGrp="1"/>
          </p:cNvSpPr>
          <p:nvPr>
            <p:ph type="title" hasCustomPrompt="1"/>
          </p:nvPr>
        </p:nvSpPr>
        <p:spPr>
          <a:xfrm>
            <a:off x="609600" y="194957"/>
            <a:ext cx="9590856" cy="67966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lvl1pPr>
              <a:defRPr sz="4000" b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Title</a:t>
            </a:r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 hasCustomPrompt="1"/>
          </p:nvPr>
        </p:nvSpPr>
        <p:spPr>
          <a:xfrm>
            <a:off x="609600" y="874622"/>
            <a:ext cx="9590088" cy="41679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>
                <a:solidFill>
                  <a:schemeClr val="accent3"/>
                </a:solidFill>
              </a:rPr>
              <a:t>Click to edit Subtitl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6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449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image" Target="../media/image6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6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5" Type="http://schemas.openxmlformats.org/officeDocument/2006/relationships/image" Target="../media/image4.pn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4.pn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70000">
              <a:srgbClr val="006699">
                <a:lumMod val="70000"/>
              </a:srgbClr>
            </a:gs>
            <a:gs pos="10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" t="8328" b="12673"/>
          <a:stretch/>
        </p:blipFill>
        <p:spPr bwMode="auto">
          <a:xfrm>
            <a:off x="-19597" y="0"/>
            <a:ext cx="1223119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B37FAB4-8DE8-4C3F-BDD7-493684EC8023}"/>
              </a:ext>
            </a:extLst>
          </p:cNvPr>
          <p:cNvSpPr/>
          <p:nvPr userDrawn="1"/>
        </p:nvSpPr>
        <p:spPr>
          <a:xfrm rot="10800000">
            <a:off x="-19598" y="-1"/>
            <a:ext cx="12198531" cy="153851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2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594" y="-1157515"/>
            <a:ext cx="5602035" cy="395877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095E8CC-579D-498E-9B71-A9C441EC9E15}"/>
              </a:ext>
            </a:extLst>
          </p:cNvPr>
          <p:cNvSpPr/>
          <p:nvPr userDrawn="1"/>
        </p:nvSpPr>
        <p:spPr>
          <a:xfrm rot="10800000">
            <a:off x="-23229" y="3429004"/>
            <a:ext cx="12231193" cy="384694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69062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spc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r: 5 Points 1">
            <a:extLst>
              <a:ext uri="{FF2B5EF4-FFF2-40B4-BE49-F238E27FC236}">
                <a16:creationId xmlns:a16="http://schemas.microsoft.com/office/drawing/2014/main" id="{4B169AF0-1CDF-4C20-8770-4C3B194AFA2F}"/>
              </a:ext>
            </a:extLst>
          </p:cNvPr>
          <p:cNvSpPr/>
          <p:nvPr userDrawn="1"/>
        </p:nvSpPr>
        <p:spPr>
          <a:xfrm rot="20753432">
            <a:off x="6541509" y="-1764862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9" name="Star: 5 Points 1">
            <a:extLst>
              <a:ext uri="{FF2B5EF4-FFF2-40B4-BE49-F238E27FC236}">
                <a16:creationId xmlns:a16="http://schemas.microsoft.com/office/drawing/2014/main" id="{4D0B9B63-1F46-48E4-85B1-22ECF186B667}"/>
              </a:ext>
            </a:extLst>
          </p:cNvPr>
          <p:cNvSpPr/>
          <p:nvPr userDrawn="1"/>
        </p:nvSpPr>
        <p:spPr>
          <a:xfrm rot="20753432">
            <a:off x="6644502" y="3058379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Star: 5 Points 1">
            <a:extLst>
              <a:ext uri="{FF2B5EF4-FFF2-40B4-BE49-F238E27FC236}">
                <a16:creationId xmlns:a16="http://schemas.microsoft.com/office/drawing/2014/main" id="{E4BC2B8A-994F-46FA-84BD-F2ECE6940C02}"/>
              </a:ext>
            </a:extLst>
          </p:cNvPr>
          <p:cNvSpPr/>
          <p:nvPr userDrawn="1"/>
        </p:nvSpPr>
        <p:spPr>
          <a:xfrm rot="20753432">
            <a:off x="9688807" y="600741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6321" y="243345"/>
            <a:ext cx="2987396" cy="7856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C27749B-716F-47C4-92E1-E3F05EACAE27}"/>
              </a:ext>
            </a:extLst>
          </p:cNvPr>
          <p:cNvSpPr/>
          <p:nvPr userDrawn="1"/>
        </p:nvSpPr>
        <p:spPr>
          <a:xfrm>
            <a:off x="0" y="6381328"/>
            <a:ext cx="12192000" cy="47667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66C9B"/>
              </a:gs>
              <a:gs pos="100000">
                <a:srgbClr val="00164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37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845" r:id="rId2"/>
    <p:sldLayoutId id="2147483853" r:id="rId3"/>
    <p:sldLayoutId id="2147483862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spc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65" r="57543" b="27063"/>
          <a:stretch/>
        </p:blipFill>
        <p:spPr>
          <a:xfrm>
            <a:off x="10511161" y="188136"/>
            <a:ext cx="1416513" cy="843374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609600" y="274639"/>
            <a:ext cx="9326827" cy="56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Rectangle 9"/>
          <p:cNvSpPr/>
          <p:nvPr/>
        </p:nvSpPr>
        <p:spPr>
          <a:xfrm>
            <a:off x="0" y="6480174"/>
            <a:ext cx="12192000" cy="37782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871A0"/>
              </a:gs>
              <a:gs pos="100000">
                <a:schemeClr val="accent6">
                  <a:lumMod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3392" y="6526959"/>
            <a:ext cx="382922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Copyright © 2018 CLEPA.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All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ights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eserved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nl-BE" sz="1100" b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www.clepa.eu</a:t>
            </a:r>
            <a:endParaRPr lang="nl-BE" sz="1100">
              <a:solidFill>
                <a:prstClr val="white">
                  <a:alpha val="30000"/>
                </a:prst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410700" y="6480175"/>
            <a:ext cx="1714501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B6D15CE5-B2E2-487D-84F5-B3A21175D02E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4F4221-3BAC-4B5C-A588-077F685BCB16}"/>
              </a:ext>
            </a:extLst>
          </p:cNvPr>
          <p:cNvSpPr/>
          <p:nvPr userDrawn="1"/>
        </p:nvSpPr>
        <p:spPr>
          <a:xfrm>
            <a:off x="10579100" y="0"/>
            <a:ext cx="1219200" cy="1055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345F34-56E6-4052-871E-B4BAD36C9B97}"/>
              </a:ext>
            </a:extLst>
          </p:cNvPr>
          <p:cNvSpPr/>
          <p:nvPr userDrawn="1"/>
        </p:nvSpPr>
        <p:spPr>
          <a:xfrm>
            <a:off x="609600" y="-243"/>
            <a:ext cx="9969500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562F16-E5CC-4D13-ADE6-FDAE7D7BA9EA}"/>
              </a:ext>
            </a:extLst>
          </p:cNvPr>
          <p:cNvSpPr/>
          <p:nvPr userDrawn="1"/>
        </p:nvSpPr>
        <p:spPr>
          <a:xfrm>
            <a:off x="11798300" y="0"/>
            <a:ext cx="393700" cy="10558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51324F-3438-45FF-BF8F-47BFCD31D366}"/>
              </a:ext>
            </a:extLst>
          </p:cNvPr>
          <p:cNvSpPr/>
          <p:nvPr userDrawn="1"/>
        </p:nvSpPr>
        <p:spPr>
          <a:xfrm>
            <a:off x="0" y="0"/>
            <a:ext cx="623392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08776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1" r:id="rId2"/>
    <p:sldLayoutId id="2147483823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 spc="0">
          <a:solidFill>
            <a:srgbClr val="006699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65" r="57543" b="27063"/>
          <a:stretch/>
        </p:blipFill>
        <p:spPr>
          <a:xfrm>
            <a:off x="10511161" y="137336"/>
            <a:ext cx="1416513" cy="843374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609600" y="274639"/>
            <a:ext cx="9326827" cy="56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Rectangle 9"/>
          <p:cNvSpPr/>
          <p:nvPr/>
        </p:nvSpPr>
        <p:spPr>
          <a:xfrm>
            <a:off x="0" y="6381328"/>
            <a:ext cx="12192000" cy="47667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871A0"/>
              </a:gs>
              <a:gs pos="100000">
                <a:schemeClr val="accent6">
                  <a:lumMod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3392" y="6488859"/>
            <a:ext cx="3829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l-BE" sz="105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8 CLEPA. All rights reserved. </a:t>
            </a:r>
            <a:r>
              <a:rPr lang="nl-BE" sz="105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lepa.eu</a:t>
            </a:r>
            <a:endParaRPr lang="nl-BE" sz="10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410700" y="6410325"/>
            <a:ext cx="17145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876800" y="6421438"/>
            <a:ext cx="433281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26285" y="6410326"/>
            <a:ext cx="662516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493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 spc="0">
          <a:solidFill>
            <a:srgbClr val="006699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65" r="57543" b="27063"/>
          <a:stretch/>
        </p:blipFill>
        <p:spPr>
          <a:xfrm>
            <a:off x="10669911" y="167508"/>
            <a:ext cx="1071239" cy="637802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609600" y="274639"/>
            <a:ext cx="9326827" cy="56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Rectangle 9"/>
          <p:cNvSpPr/>
          <p:nvPr/>
        </p:nvSpPr>
        <p:spPr>
          <a:xfrm>
            <a:off x="0" y="6480174"/>
            <a:ext cx="12192000" cy="37782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871A0"/>
              </a:gs>
              <a:gs pos="100000">
                <a:schemeClr val="accent6">
                  <a:lumMod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3392" y="6526959"/>
            <a:ext cx="382922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Copyright © 2018 CLEPA.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All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ights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eserved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nl-BE" sz="1100" b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www.clepa.eu</a:t>
            </a:r>
            <a:endParaRPr lang="nl-BE" sz="1100">
              <a:solidFill>
                <a:prstClr val="white">
                  <a:alpha val="30000"/>
                </a:prst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410700" y="6480175"/>
            <a:ext cx="1714501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B6D15CE5-B2E2-487D-84F5-B3A21175D02E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4F4221-3BAC-4B5C-A588-077F685BCB16}"/>
              </a:ext>
            </a:extLst>
          </p:cNvPr>
          <p:cNvSpPr/>
          <p:nvPr userDrawn="1"/>
        </p:nvSpPr>
        <p:spPr>
          <a:xfrm>
            <a:off x="10579100" y="0"/>
            <a:ext cx="1219200" cy="1055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345F34-56E6-4052-871E-B4BAD36C9B97}"/>
              </a:ext>
            </a:extLst>
          </p:cNvPr>
          <p:cNvSpPr/>
          <p:nvPr userDrawn="1"/>
        </p:nvSpPr>
        <p:spPr>
          <a:xfrm>
            <a:off x="609600" y="-243"/>
            <a:ext cx="9969500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562F16-E5CC-4D13-ADE6-FDAE7D7BA9EA}"/>
              </a:ext>
            </a:extLst>
          </p:cNvPr>
          <p:cNvSpPr/>
          <p:nvPr userDrawn="1"/>
        </p:nvSpPr>
        <p:spPr>
          <a:xfrm>
            <a:off x="11798300" y="0"/>
            <a:ext cx="393700" cy="10558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51324F-3438-45FF-BF8F-47BFCD31D366}"/>
              </a:ext>
            </a:extLst>
          </p:cNvPr>
          <p:cNvSpPr/>
          <p:nvPr userDrawn="1"/>
        </p:nvSpPr>
        <p:spPr>
          <a:xfrm>
            <a:off x="0" y="0"/>
            <a:ext cx="623392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18470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 spc="0">
          <a:solidFill>
            <a:srgbClr val="006699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62475" y="1979060"/>
            <a:ext cx="2068987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1.10.2018 08:56 W. Europe Standard Time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73695" y="4197040"/>
            <a:ext cx="1846551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 31.10.2018 07:51 W. Europe Standard Time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630083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0242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ar: 5 Points 1">
            <a:extLst>
              <a:ext uri="{FF2B5EF4-FFF2-40B4-BE49-F238E27FC236}">
                <a16:creationId xmlns:a16="http://schemas.microsoft.com/office/drawing/2014/main" id="{4B169AF0-1CDF-4C20-8770-4C3B194AFA2F}"/>
              </a:ext>
            </a:extLst>
          </p:cNvPr>
          <p:cNvSpPr/>
          <p:nvPr userDrawn="1"/>
        </p:nvSpPr>
        <p:spPr>
          <a:xfrm rot="20753432">
            <a:off x="6541509" y="-1764862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9" name="Star: 5 Points 1">
            <a:extLst>
              <a:ext uri="{FF2B5EF4-FFF2-40B4-BE49-F238E27FC236}">
                <a16:creationId xmlns:a16="http://schemas.microsoft.com/office/drawing/2014/main" id="{4D0B9B63-1F46-48E4-85B1-22ECF186B667}"/>
              </a:ext>
            </a:extLst>
          </p:cNvPr>
          <p:cNvSpPr/>
          <p:nvPr userDrawn="1"/>
        </p:nvSpPr>
        <p:spPr>
          <a:xfrm rot="20753432">
            <a:off x="6644502" y="3058379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0" name="Star: 5 Points 1">
            <a:extLst>
              <a:ext uri="{FF2B5EF4-FFF2-40B4-BE49-F238E27FC236}">
                <a16:creationId xmlns:a16="http://schemas.microsoft.com/office/drawing/2014/main" id="{E4BC2B8A-994F-46FA-84BD-F2ECE6940C02}"/>
              </a:ext>
            </a:extLst>
          </p:cNvPr>
          <p:cNvSpPr/>
          <p:nvPr userDrawn="1"/>
        </p:nvSpPr>
        <p:spPr>
          <a:xfrm rot="20753432">
            <a:off x="9688807" y="600741"/>
            <a:ext cx="3512925" cy="3984275"/>
          </a:xfrm>
          <a:custGeom>
            <a:avLst/>
            <a:gdLst>
              <a:gd name="connsiteX0" fmla="*/ 1 w 932873"/>
              <a:gd name="connsiteY0" fmla="*/ 419828 h 1099127"/>
              <a:gd name="connsiteX1" fmla="*/ 356328 w 932873"/>
              <a:gd name="connsiteY1" fmla="*/ 419831 h 1099127"/>
              <a:gd name="connsiteX2" fmla="*/ 466437 w 932873"/>
              <a:gd name="connsiteY2" fmla="*/ 0 h 1099127"/>
              <a:gd name="connsiteX3" fmla="*/ 576545 w 932873"/>
              <a:gd name="connsiteY3" fmla="*/ 419831 h 1099127"/>
              <a:gd name="connsiteX4" fmla="*/ 932872 w 932873"/>
              <a:gd name="connsiteY4" fmla="*/ 419828 h 1099127"/>
              <a:gd name="connsiteX5" fmla="*/ 644596 w 932873"/>
              <a:gd name="connsiteY5" fmla="*/ 679295 h 1099127"/>
              <a:gd name="connsiteX6" fmla="*/ 754710 w 932873"/>
              <a:gd name="connsiteY6" fmla="*/ 1099124 h 1099127"/>
              <a:gd name="connsiteX7" fmla="*/ 466437 w 932873"/>
              <a:gd name="connsiteY7" fmla="*/ 839653 h 1099127"/>
              <a:gd name="connsiteX8" fmla="*/ 178163 w 932873"/>
              <a:gd name="connsiteY8" fmla="*/ 1099124 h 1099127"/>
              <a:gd name="connsiteX9" fmla="*/ 288277 w 932873"/>
              <a:gd name="connsiteY9" fmla="*/ 679295 h 1099127"/>
              <a:gd name="connsiteX10" fmla="*/ 1 w 932873"/>
              <a:gd name="connsiteY10" fmla="*/ 419828 h 1099127"/>
              <a:gd name="connsiteX0" fmla="*/ 0 w 932871"/>
              <a:gd name="connsiteY0" fmla="*/ 419828 h 1099124"/>
              <a:gd name="connsiteX1" fmla="*/ 356327 w 932871"/>
              <a:gd name="connsiteY1" fmla="*/ 419831 h 1099124"/>
              <a:gd name="connsiteX2" fmla="*/ 466436 w 932871"/>
              <a:gd name="connsiteY2" fmla="*/ 0 h 1099124"/>
              <a:gd name="connsiteX3" fmla="*/ 576544 w 932871"/>
              <a:gd name="connsiteY3" fmla="*/ 419831 h 1099124"/>
              <a:gd name="connsiteX4" fmla="*/ 932871 w 932871"/>
              <a:gd name="connsiteY4" fmla="*/ 419828 h 1099124"/>
              <a:gd name="connsiteX5" fmla="*/ 644595 w 932871"/>
              <a:gd name="connsiteY5" fmla="*/ 679295 h 1099124"/>
              <a:gd name="connsiteX6" fmla="*/ 754709 w 932871"/>
              <a:gd name="connsiteY6" fmla="*/ 1099124 h 1099124"/>
              <a:gd name="connsiteX7" fmla="*/ 466436 w 932871"/>
              <a:gd name="connsiteY7" fmla="*/ 839653 h 1099124"/>
              <a:gd name="connsiteX8" fmla="*/ 178162 w 932871"/>
              <a:gd name="connsiteY8" fmla="*/ 1099124 h 1099124"/>
              <a:gd name="connsiteX9" fmla="*/ 288276 w 932871"/>
              <a:gd name="connsiteY9" fmla="*/ 679295 h 1099124"/>
              <a:gd name="connsiteX10" fmla="*/ 0 w 932871"/>
              <a:gd name="connsiteY10" fmla="*/ 419828 h 1099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32871" h="1099124">
                <a:moveTo>
                  <a:pt x="0" y="419828"/>
                </a:moveTo>
                <a:lnTo>
                  <a:pt x="356327" y="419831"/>
                </a:lnTo>
                <a:lnTo>
                  <a:pt x="466436" y="0"/>
                </a:lnTo>
                <a:lnTo>
                  <a:pt x="576544" y="419831"/>
                </a:lnTo>
                <a:lnTo>
                  <a:pt x="932871" y="419828"/>
                </a:lnTo>
                <a:lnTo>
                  <a:pt x="644595" y="679295"/>
                </a:lnTo>
                <a:lnTo>
                  <a:pt x="754709" y="1099124"/>
                </a:lnTo>
                <a:lnTo>
                  <a:pt x="466436" y="839653"/>
                </a:lnTo>
                <a:lnTo>
                  <a:pt x="178162" y="1099124"/>
                </a:lnTo>
                <a:lnTo>
                  <a:pt x="288276" y="679295"/>
                </a:lnTo>
                <a:lnTo>
                  <a:pt x="0" y="419828"/>
                </a:ln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" r="833"/>
          <a:stretch/>
        </p:blipFill>
        <p:spPr>
          <a:xfrm>
            <a:off x="164" y="2638296"/>
            <a:ext cx="12192000" cy="374259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64" y="477110"/>
            <a:ext cx="2987396" cy="78561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C27749B-716F-47C4-92E1-E3F05EACAE27}"/>
              </a:ext>
            </a:extLst>
          </p:cNvPr>
          <p:cNvSpPr/>
          <p:nvPr userDrawn="1"/>
        </p:nvSpPr>
        <p:spPr>
          <a:xfrm>
            <a:off x="0" y="6381328"/>
            <a:ext cx="12192000" cy="47667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66C9B"/>
              </a:gs>
              <a:gs pos="100000">
                <a:srgbClr val="00164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6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spc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65" r="57543" b="27063"/>
          <a:stretch/>
        </p:blipFill>
        <p:spPr>
          <a:xfrm>
            <a:off x="10511161" y="188136"/>
            <a:ext cx="1416513" cy="843374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609600" y="274639"/>
            <a:ext cx="9326827" cy="56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Rectangle 9"/>
          <p:cNvSpPr/>
          <p:nvPr/>
        </p:nvSpPr>
        <p:spPr>
          <a:xfrm>
            <a:off x="0" y="6480174"/>
            <a:ext cx="12192000" cy="37782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871A0"/>
              </a:gs>
              <a:gs pos="100000">
                <a:schemeClr val="accent6">
                  <a:lumMod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3392" y="6526959"/>
            <a:ext cx="382922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Copyright © 2018 CLEPA.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All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ights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eserved</a:t>
            </a:r>
            <a:r>
              <a:rPr lang="nl-BE" sz="110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nl-BE" sz="1100" b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www.clepa.eu</a:t>
            </a:r>
            <a:endParaRPr lang="nl-BE" sz="1100">
              <a:solidFill>
                <a:prstClr val="white">
                  <a:alpha val="30000"/>
                </a:prst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410700" y="6480175"/>
            <a:ext cx="1714501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B6D15CE5-B2E2-487D-84F5-B3A21175D02E}" type="datetime1">
              <a:rPr lang="en-GB" smtClean="0"/>
              <a:pPr>
                <a:defRPr/>
              </a:pPr>
              <a:t>01/12/2020</a:t>
            </a:fld>
            <a:endParaRPr lang="en-GB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3" name="Picture 7">
            <a:extLst>
              <a:ext uri="{FF2B5EF4-FFF2-40B4-BE49-F238E27FC236}">
                <a16:creationId xmlns:a16="http://schemas.microsoft.com/office/drawing/2014/main" id="{88D48048-CAC9-4352-8556-A1288E6DD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" r="833"/>
          <a:stretch/>
        </p:blipFill>
        <p:spPr>
          <a:xfrm>
            <a:off x="164" y="2733546"/>
            <a:ext cx="12192000" cy="37425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54F4221-3BAC-4B5C-A588-077F685BCB16}"/>
              </a:ext>
            </a:extLst>
          </p:cNvPr>
          <p:cNvSpPr/>
          <p:nvPr userDrawn="1"/>
        </p:nvSpPr>
        <p:spPr>
          <a:xfrm>
            <a:off x="10579100" y="0"/>
            <a:ext cx="1219200" cy="1055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345F34-56E6-4052-871E-B4BAD36C9B97}"/>
              </a:ext>
            </a:extLst>
          </p:cNvPr>
          <p:cNvSpPr/>
          <p:nvPr userDrawn="1"/>
        </p:nvSpPr>
        <p:spPr>
          <a:xfrm>
            <a:off x="609600" y="-243"/>
            <a:ext cx="9969500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562F16-E5CC-4D13-ADE6-FDAE7D7BA9EA}"/>
              </a:ext>
            </a:extLst>
          </p:cNvPr>
          <p:cNvSpPr/>
          <p:nvPr userDrawn="1"/>
        </p:nvSpPr>
        <p:spPr>
          <a:xfrm>
            <a:off x="11798300" y="0"/>
            <a:ext cx="393700" cy="10558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51324F-3438-45FF-BF8F-47BFCD31D366}"/>
              </a:ext>
            </a:extLst>
          </p:cNvPr>
          <p:cNvSpPr/>
          <p:nvPr userDrawn="1"/>
        </p:nvSpPr>
        <p:spPr>
          <a:xfrm>
            <a:off x="0" y="0"/>
            <a:ext cx="623392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49317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 spc="0">
          <a:solidFill>
            <a:srgbClr val="006699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65" r="57543" b="27063"/>
          <a:stretch/>
        </p:blipFill>
        <p:spPr>
          <a:xfrm>
            <a:off x="10511161" y="188136"/>
            <a:ext cx="1416513" cy="843374"/>
          </a:xfrm>
          <a:prstGeom prst="rect">
            <a:avLst/>
          </a:prstGeom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609600" y="274639"/>
            <a:ext cx="9326827" cy="5687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Rectangle 9"/>
          <p:cNvSpPr/>
          <p:nvPr/>
        </p:nvSpPr>
        <p:spPr>
          <a:xfrm>
            <a:off x="0" y="6480174"/>
            <a:ext cx="12192000" cy="37782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0">
                <a:srgbClr val="2871A0"/>
              </a:gs>
              <a:gs pos="100000">
                <a:schemeClr val="accent6">
                  <a:lumMod val="7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3392" y="6526959"/>
            <a:ext cx="382922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nl-BE" sz="1100" dirty="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Copyright © 2018 CLEPA. </a:t>
            </a:r>
            <a:r>
              <a:rPr lang="nl-BE" sz="1100" dirty="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All</a:t>
            </a:r>
            <a:r>
              <a:rPr lang="nl-BE" sz="1100" dirty="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dirty="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ights</a:t>
            </a:r>
            <a:r>
              <a:rPr lang="nl-BE" sz="1100" dirty="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nl-BE" sz="1100" dirty="0" err="1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reserved</a:t>
            </a:r>
            <a:r>
              <a:rPr lang="nl-BE" sz="1100" dirty="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nl-BE" sz="1100" b="1" dirty="0">
                <a:solidFill>
                  <a:prstClr val="white">
                    <a:alpha val="30000"/>
                  </a:prstClr>
                </a:solidFill>
                <a:latin typeface="+mn-lt"/>
                <a:cs typeface="Arial" panose="020B0604020202020204" pitchFamily="34" charset="0"/>
              </a:rPr>
              <a:t>www.clepa.eu</a:t>
            </a:r>
            <a:endParaRPr lang="nl-BE" sz="1100" dirty="0">
              <a:solidFill>
                <a:prstClr val="white">
                  <a:alpha val="30000"/>
                </a:prst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410700" y="6480175"/>
            <a:ext cx="1714501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fld id="{B6D15CE5-B2E2-487D-84F5-B3A21175D02E}" type="datetime1">
              <a:rPr lang="en-GB" smtClean="0"/>
              <a:pPr>
                <a:defRPr/>
              </a:pPr>
              <a:t>01/12/2020</a:t>
            </a:fld>
            <a:endParaRPr lang="en-GB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876800" y="6478588"/>
            <a:ext cx="4332816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>
                    <a:alpha val="5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26285" y="6477001"/>
            <a:ext cx="662516" cy="365125"/>
          </a:xfrm>
          <a:prstGeom prst="rect">
            <a:avLst/>
          </a:prstGeom>
        </p:spPr>
        <p:txBody>
          <a:bodyPr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D8B839-6290-49FC-AD74-F2CFABDC98A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4F4221-3BAC-4B5C-A588-077F685BCB16}"/>
              </a:ext>
            </a:extLst>
          </p:cNvPr>
          <p:cNvSpPr/>
          <p:nvPr userDrawn="1"/>
        </p:nvSpPr>
        <p:spPr>
          <a:xfrm>
            <a:off x="10579100" y="0"/>
            <a:ext cx="1219200" cy="1055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3345F34-56E6-4052-871E-B4BAD36C9B97}"/>
              </a:ext>
            </a:extLst>
          </p:cNvPr>
          <p:cNvSpPr/>
          <p:nvPr userDrawn="1"/>
        </p:nvSpPr>
        <p:spPr>
          <a:xfrm>
            <a:off x="609600" y="-243"/>
            <a:ext cx="9969500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562F16-E5CC-4D13-ADE6-FDAE7D7BA9EA}"/>
              </a:ext>
            </a:extLst>
          </p:cNvPr>
          <p:cNvSpPr/>
          <p:nvPr userDrawn="1"/>
        </p:nvSpPr>
        <p:spPr>
          <a:xfrm>
            <a:off x="11798300" y="0"/>
            <a:ext cx="393700" cy="10558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51324F-3438-45FF-BF8F-47BFCD31D366}"/>
              </a:ext>
            </a:extLst>
          </p:cNvPr>
          <p:cNvSpPr/>
          <p:nvPr userDrawn="1"/>
        </p:nvSpPr>
        <p:spPr>
          <a:xfrm>
            <a:off x="0" y="0"/>
            <a:ext cx="623392" cy="1055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59534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 spc="0">
          <a:solidFill>
            <a:srgbClr val="006699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rgbClr val="67737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14F9C-24DA-4318-8E46-A870BF1C20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2168" y="3498744"/>
            <a:ext cx="11109498" cy="1417637"/>
          </a:xfrm>
        </p:spPr>
        <p:txBody>
          <a:bodyPr>
            <a:normAutofit/>
          </a:bodyPr>
          <a:lstStyle/>
          <a:p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EXPLANATORY PRESENTATION TO CLEPA NECK LOAD LIMITS PROPOSAL </a:t>
            </a:r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991B8B-C42F-4BD6-B2C7-868DBDBF4F9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4000" dirty="0"/>
              <a:t>Submitted by the experts from CLEPA</a:t>
            </a:r>
          </a:p>
          <a:p>
            <a:r>
              <a:rPr lang="en-GB" dirty="0"/>
              <a:t>68</a:t>
            </a:r>
            <a:r>
              <a:rPr lang="en-GB" baseline="30000" dirty="0"/>
              <a:t>th</a:t>
            </a:r>
            <a:r>
              <a:rPr lang="en-GB" dirty="0"/>
              <a:t> session of GRSP, 07 - 11</a:t>
            </a:r>
            <a:r>
              <a:rPr lang="en-GB" baseline="30000" dirty="0"/>
              <a:t>th</a:t>
            </a:r>
            <a:r>
              <a:rPr lang="en-GB" dirty="0"/>
              <a:t> December 2020</a:t>
            </a:r>
            <a:endParaRPr lang="x-non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067708-5F8F-4E8B-B168-E98207FE18A7}"/>
              </a:ext>
            </a:extLst>
          </p:cNvPr>
          <p:cNvSpPr txBox="1"/>
          <p:nvPr/>
        </p:nvSpPr>
        <p:spPr>
          <a:xfrm>
            <a:off x="9248775" y="164193"/>
            <a:ext cx="2943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ormal </a:t>
            </a:r>
            <a:r>
              <a:rPr lang="en-GB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cument GRSP-68-10</a:t>
            </a:r>
            <a:endParaRPr lang="en-GB" sz="1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r"/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8</a:t>
            </a:r>
            <a:r>
              <a:rPr lang="en-GB" sz="1400" b="1" baseline="30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GRSP, 07-11 Dec. 2020</a:t>
            </a:r>
          </a:p>
          <a:p>
            <a:pPr algn="r"/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 item 12</a:t>
            </a:r>
          </a:p>
        </p:txBody>
      </p:sp>
    </p:spTree>
    <p:extLst>
      <p:ext uri="{BB962C8B-B14F-4D97-AF65-F5344CB8AC3E}">
        <p14:creationId xmlns:p14="http://schemas.microsoft.com/office/powerpoint/2010/main" val="730038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B0CA8-F52A-4CAF-AF61-320B97DB88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476" y="1364184"/>
            <a:ext cx="11141174" cy="4351338"/>
          </a:xfrm>
        </p:spPr>
        <p:txBody>
          <a:bodyPr/>
          <a:lstStyle/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CE/TRANS/WP.29/GRSP/2019/19 proposed chest vertical acceleration limits for Q0, Q1 and Q1.5 dummies</a:t>
            </a:r>
          </a:p>
          <a:p>
            <a:pPr lvl="1">
              <a:spcAft>
                <a:spcPts val="6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stification was potential for increased neck loading in rear-facing CRS with a supine seating position</a:t>
            </a:r>
          </a:p>
          <a:p>
            <a:pPr lvl="1">
              <a:spcAft>
                <a:spcPts val="6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129 requires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tensile neck force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flexion moment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 be measured for monitoring only</a:t>
            </a:r>
          </a:p>
          <a:p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SP deferred discussion to allow analysis of neck loads collected during R129 type-approvals</a:t>
            </a:r>
          </a:p>
          <a:p>
            <a:pPr lvl="1"/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provided by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UK(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VCA), Spain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and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LEPA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8EAE85-F8C2-4601-89F2-1E67BBBC64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3131025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B0CA8-F52A-4CAF-AF61-320B97DB88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706" y="1677639"/>
            <a:ext cx="11588849" cy="4351338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K, Spain and CLEPA samples combined: </a:t>
            </a:r>
            <a:r>
              <a:rPr lang="en-GB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9 CRS = 471 test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 separated for each dummy by impact direction and CRS orientation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st-case condition identified for each dummy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tistical analyses carried out </a:t>
            </a:r>
            <a:r>
              <a:rPr lang="en-GB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95</a:t>
            </a:r>
            <a:r>
              <a:rPr lang="en-GB" sz="28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GB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ercentile; Mean+2SD) 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mits proposed based on statistical analyses and outlier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8EAE85-F8C2-4601-89F2-1E67BBBC64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SIS METHO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965CF8-A51D-4CE8-85CA-78FC1F467436}"/>
              </a:ext>
            </a:extLst>
          </p:cNvPr>
          <p:cNvSpPr txBox="1"/>
          <p:nvPr/>
        </p:nvSpPr>
        <p:spPr>
          <a:xfrm>
            <a:off x="695325" y="824136"/>
            <a:ext cx="4895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4011140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B0CA8-F52A-4CAF-AF61-320B97DB88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3151" y="1530154"/>
            <a:ext cx="11308112" cy="4351338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E J211 sign convention may not have been used in all tests in VCA sample </a:t>
            </a: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especially flexion moment)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ming of peak value is unknown and may have been generated in rebound </a:t>
            </a:r>
            <a:r>
              <a:rPr lang="en-GB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especially flexion moment)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K, Spain and CLEPA samples may not be representative of the wider CRS market 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y limits are pragmatic and their relationship to real-world injury risk is unknown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8EAE85-F8C2-4601-89F2-1E67BBBC64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ALYSIS METHO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965CF8-A51D-4CE8-85CA-78FC1F467436}"/>
              </a:ext>
            </a:extLst>
          </p:cNvPr>
          <p:cNvSpPr txBox="1"/>
          <p:nvPr/>
        </p:nvSpPr>
        <p:spPr>
          <a:xfrm>
            <a:off x="695325" y="824136"/>
            <a:ext cx="4895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veats</a:t>
            </a:r>
          </a:p>
        </p:txBody>
      </p:sp>
    </p:spTree>
    <p:extLst>
      <p:ext uri="{BB962C8B-B14F-4D97-AF65-F5344CB8AC3E}">
        <p14:creationId xmlns:p14="http://schemas.microsoft.com/office/powerpoint/2010/main" val="1895208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CE35A48-DBC9-45C8-A2B7-8C0F94175D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6716" y="1398058"/>
            <a:ext cx="7051834" cy="462676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63580B4-1301-42F1-BF5B-F8B40F567B7A}"/>
              </a:ext>
            </a:extLst>
          </p:cNvPr>
          <p:cNvCxnSpPr>
            <a:cxnSpLocks/>
          </p:cNvCxnSpPr>
          <p:nvPr/>
        </p:nvCxnSpPr>
        <p:spPr>
          <a:xfrm flipH="1">
            <a:off x="6066822" y="4971535"/>
            <a:ext cx="160808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803DBB-18F9-4F8E-A958-E23454403305}"/>
              </a:ext>
            </a:extLst>
          </p:cNvPr>
          <p:cNvCxnSpPr>
            <a:cxnSpLocks/>
          </p:cNvCxnSpPr>
          <p:nvPr/>
        </p:nvCxnSpPr>
        <p:spPr>
          <a:xfrm flipH="1">
            <a:off x="7850963" y="4666732"/>
            <a:ext cx="160808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7EDE85E-F418-475A-AF1A-7BE43550E7C8}"/>
              </a:ext>
            </a:extLst>
          </p:cNvPr>
          <p:cNvCxnSpPr>
            <a:cxnSpLocks/>
          </p:cNvCxnSpPr>
          <p:nvPr/>
        </p:nvCxnSpPr>
        <p:spPr>
          <a:xfrm flipH="1">
            <a:off x="9656105" y="3400515"/>
            <a:ext cx="160808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101F822-1054-4AB6-85BC-ED4183D08F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POSAL</a:t>
            </a: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33027996-FD44-450D-A484-551A5B4AC2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09622"/>
              </p:ext>
            </p:extLst>
          </p:nvPr>
        </p:nvGraphicFramePr>
        <p:xfrm>
          <a:off x="5739139" y="1616426"/>
          <a:ext cx="1131725" cy="1112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4980">
                  <a:extLst>
                    <a:ext uri="{9D8B030D-6E8A-4147-A177-3AD203B41FA5}">
                      <a16:colId xmlns:a16="http://schemas.microsoft.com/office/drawing/2014/main" val="2291182704"/>
                    </a:ext>
                  </a:extLst>
                </a:gridCol>
                <a:gridCol w="756745">
                  <a:extLst>
                    <a:ext uri="{9D8B030D-6E8A-4147-A177-3AD203B41FA5}">
                      <a16:colId xmlns:a16="http://schemas.microsoft.com/office/drawing/2014/main" val="37903299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0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91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618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.5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766612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85BE8F8-46BE-4FDD-91EA-1FE7E33BB372}"/>
              </a:ext>
            </a:extLst>
          </p:cNvPr>
          <p:cNvSpPr txBox="1"/>
          <p:nvPr/>
        </p:nvSpPr>
        <p:spPr>
          <a:xfrm>
            <a:off x="6475845" y="5833411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7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755970-AA78-4F40-BBD1-1B6F3F30C2E6}"/>
              </a:ext>
            </a:extLst>
          </p:cNvPr>
          <p:cNvSpPr txBox="1"/>
          <p:nvPr/>
        </p:nvSpPr>
        <p:spPr>
          <a:xfrm>
            <a:off x="8268309" y="5833411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4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EA52A87-144F-4F41-AAE6-CC3F46EC3712}"/>
              </a:ext>
            </a:extLst>
          </p:cNvPr>
          <p:cNvSpPr txBox="1"/>
          <p:nvPr/>
        </p:nvSpPr>
        <p:spPr>
          <a:xfrm>
            <a:off x="10042696" y="5833411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54</a:t>
            </a: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E808F34B-028C-47B7-BD54-D3161C7098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203949"/>
              </p:ext>
            </p:extLst>
          </p:nvPr>
        </p:nvGraphicFramePr>
        <p:xfrm>
          <a:off x="186776" y="2500507"/>
          <a:ext cx="4515852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4260">
                  <a:extLst>
                    <a:ext uri="{9D8B030D-6E8A-4147-A177-3AD203B41FA5}">
                      <a16:colId xmlns:a16="http://schemas.microsoft.com/office/drawing/2014/main" val="2506924079"/>
                    </a:ext>
                  </a:extLst>
                </a:gridCol>
                <a:gridCol w="1008869">
                  <a:extLst>
                    <a:ext uri="{9D8B030D-6E8A-4147-A177-3AD203B41FA5}">
                      <a16:colId xmlns:a16="http://schemas.microsoft.com/office/drawing/2014/main" val="504730277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501117770"/>
                    </a:ext>
                  </a:extLst>
                </a:gridCol>
                <a:gridCol w="1309723">
                  <a:extLst>
                    <a:ext uri="{9D8B030D-6E8A-4147-A177-3AD203B41FA5}">
                      <a16:colId xmlns:a16="http://schemas.microsoft.com/office/drawing/2014/main" val="20295172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umm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5</a:t>
                      </a:r>
                      <a:r>
                        <a:rPr lang="en-GB" baseline="300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h</a:t>
                      </a:r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%</a:t>
                      </a:r>
                      <a:r>
                        <a:rPr lang="en-GB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le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an + (2*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mit proposal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7779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670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700] N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952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18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950] N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0458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,1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,4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2,300] N</a:t>
                      </a:r>
                      <a:endParaRPr lang="en-GB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782016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With upper outliers removed*: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/>
                      <a:endParaRPr lang="en-GB" dirty="0">
                        <a:solidFill>
                          <a:srgbClr val="C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17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,9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,2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2,000] N</a:t>
                      </a:r>
                      <a:endParaRPr lang="en-GB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8402090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528136C3-10B1-4D38-9F16-D1AE3C7A1AFD}"/>
              </a:ext>
            </a:extLst>
          </p:cNvPr>
          <p:cNvSpPr txBox="1"/>
          <p:nvPr/>
        </p:nvSpPr>
        <p:spPr>
          <a:xfrm>
            <a:off x="695325" y="824136"/>
            <a:ext cx="4895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sile neck for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F9C8FA-71ED-40F6-ADD4-6E14DC49AF41}"/>
              </a:ext>
            </a:extLst>
          </p:cNvPr>
          <p:cNvSpPr txBox="1"/>
          <p:nvPr/>
        </p:nvSpPr>
        <p:spPr>
          <a:xfrm>
            <a:off x="6025878" y="4598492"/>
            <a:ext cx="804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700 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6B99E6-894F-4507-9C0A-06996D72690C}"/>
              </a:ext>
            </a:extLst>
          </p:cNvPr>
          <p:cNvSpPr txBox="1"/>
          <p:nvPr/>
        </p:nvSpPr>
        <p:spPr>
          <a:xfrm>
            <a:off x="7788719" y="4286867"/>
            <a:ext cx="804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950 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EB3EC6-1365-4E8D-8E3C-AD1EE7E09032}"/>
              </a:ext>
            </a:extLst>
          </p:cNvPr>
          <p:cNvSpPr txBox="1"/>
          <p:nvPr/>
        </p:nvSpPr>
        <p:spPr>
          <a:xfrm>
            <a:off x="9540934" y="3019959"/>
            <a:ext cx="986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2,000 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0438DE9-4E4D-4A5E-A07D-77E9C30CF8CE}"/>
              </a:ext>
            </a:extLst>
          </p:cNvPr>
          <p:cNvSpPr/>
          <p:nvPr/>
        </p:nvSpPr>
        <p:spPr>
          <a:xfrm>
            <a:off x="10163013" y="2033344"/>
            <a:ext cx="653378" cy="756000"/>
          </a:xfrm>
          <a:prstGeom prst="ellipse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308A89-DD76-4377-A034-68347AD72DCD}"/>
              </a:ext>
            </a:extLst>
          </p:cNvPr>
          <p:cNvSpPr txBox="1"/>
          <p:nvPr/>
        </p:nvSpPr>
        <p:spPr>
          <a:xfrm>
            <a:off x="277990" y="5230668"/>
            <a:ext cx="4502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CLEPA-Japan discussion – 26.11.20</a:t>
            </a:r>
          </a:p>
        </p:txBody>
      </p:sp>
    </p:spTree>
    <p:extLst>
      <p:ext uri="{BB962C8B-B14F-4D97-AF65-F5344CB8AC3E}">
        <p14:creationId xmlns:p14="http://schemas.microsoft.com/office/powerpoint/2010/main" val="337647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970B05-4FB1-47A2-A740-F24A35A42C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3361" y="1400549"/>
            <a:ext cx="7058216" cy="462038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63580B4-1301-42F1-BF5B-F8B40F567B7A}"/>
              </a:ext>
            </a:extLst>
          </p:cNvPr>
          <p:cNvCxnSpPr>
            <a:cxnSpLocks/>
          </p:cNvCxnSpPr>
          <p:nvPr/>
        </p:nvCxnSpPr>
        <p:spPr>
          <a:xfrm flipH="1">
            <a:off x="5908335" y="4758615"/>
            <a:ext cx="271955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803DBB-18F9-4F8E-A958-E23454403305}"/>
              </a:ext>
            </a:extLst>
          </p:cNvPr>
          <p:cNvCxnSpPr>
            <a:cxnSpLocks/>
          </p:cNvCxnSpPr>
          <p:nvPr/>
        </p:nvCxnSpPr>
        <p:spPr>
          <a:xfrm flipH="1">
            <a:off x="8690950" y="3680099"/>
            <a:ext cx="125075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7EDE85E-F418-475A-AF1A-7BE43550E7C8}"/>
              </a:ext>
            </a:extLst>
          </p:cNvPr>
          <p:cNvCxnSpPr>
            <a:cxnSpLocks/>
          </p:cNvCxnSpPr>
          <p:nvPr/>
        </p:nvCxnSpPr>
        <p:spPr>
          <a:xfrm flipH="1">
            <a:off x="10117729" y="2611366"/>
            <a:ext cx="122182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101F822-1054-4AB6-85BC-ED4183D08F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POSAL</a:t>
            </a: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33027996-FD44-450D-A484-551A5B4AC2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7939976"/>
              </p:ext>
            </p:extLst>
          </p:nvPr>
        </p:nvGraphicFramePr>
        <p:xfrm>
          <a:off x="5691011" y="1601162"/>
          <a:ext cx="1131725" cy="1112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4980">
                  <a:extLst>
                    <a:ext uri="{9D8B030D-6E8A-4147-A177-3AD203B41FA5}">
                      <a16:colId xmlns:a16="http://schemas.microsoft.com/office/drawing/2014/main" val="2291182704"/>
                    </a:ext>
                  </a:extLst>
                </a:gridCol>
                <a:gridCol w="756745">
                  <a:extLst>
                    <a:ext uri="{9D8B030D-6E8A-4147-A177-3AD203B41FA5}">
                      <a16:colId xmlns:a16="http://schemas.microsoft.com/office/drawing/2014/main" val="379032990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0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91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6189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.5</a:t>
                      </a:r>
                    </a:p>
                  </a:txBody>
                  <a:tcPr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6766612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85BE8F8-46BE-4FDD-91EA-1FE7E33BB372}"/>
              </a:ext>
            </a:extLst>
          </p:cNvPr>
          <p:cNvSpPr txBox="1"/>
          <p:nvPr/>
        </p:nvSpPr>
        <p:spPr>
          <a:xfrm>
            <a:off x="6215929" y="5872739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86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755970-AA78-4F40-BBD1-1B6F3F30C2E6}"/>
              </a:ext>
            </a:extLst>
          </p:cNvPr>
          <p:cNvSpPr txBox="1"/>
          <p:nvPr/>
        </p:nvSpPr>
        <p:spPr>
          <a:xfrm>
            <a:off x="8942335" y="5872739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6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EA52A87-144F-4F41-AAE6-CC3F46EC3712}"/>
              </a:ext>
            </a:extLst>
          </p:cNvPr>
          <p:cNvSpPr txBox="1"/>
          <p:nvPr/>
        </p:nvSpPr>
        <p:spPr>
          <a:xfrm>
            <a:off x="10301409" y="5875395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 54</a:t>
            </a: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E808F34B-028C-47B7-BD54-D3161C7098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949421"/>
              </p:ext>
            </p:extLst>
          </p:nvPr>
        </p:nvGraphicFramePr>
        <p:xfrm>
          <a:off x="277990" y="2367280"/>
          <a:ext cx="4502288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0525">
                  <a:extLst>
                    <a:ext uri="{9D8B030D-6E8A-4147-A177-3AD203B41FA5}">
                      <a16:colId xmlns:a16="http://schemas.microsoft.com/office/drawing/2014/main" val="2506924079"/>
                    </a:ext>
                  </a:extLst>
                </a:gridCol>
                <a:gridCol w="1143921">
                  <a:extLst>
                    <a:ext uri="{9D8B030D-6E8A-4147-A177-3AD203B41FA5}">
                      <a16:colId xmlns:a16="http://schemas.microsoft.com/office/drawing/2014/main" val="504730277"/>
                    </a:ext>
                  </a:extLst>
                </a:gridCol>
                <a:gridCol w="1143921">
                  <a:extLst>
                    <a:ext uri="{9D8B030D-6E8A-4147-A177-3AD203B41FA5}">
                      <a16:colId xmlns:a16="http://schemas.microsoft.com/office/drawing/2014/main" val="358224868"/>
                    </a:ext>
                  </a:extLst>
                </a:gridCol>
                <a:gridCol w="1143921">
                  <a:extLst>
                    <a:ext uri="{9D8B030D-6E8A-4147-A177-3AD203B41FA5}">
                      <a16:colId xmlns:a16="http://schemas.microsoft.com/office/drawing/2014/main" val="1619206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umm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5</a:t>
                      </a:r>
                      <a:r>
                        <a:rPr lang="en-GB" baseline="30000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h</a:t>
                      </a:r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%</a:t>
                      </a:r>
                      <a:r>
                        <a:rPr lang="en-GB" dirty="0" err="1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ile</a:t>
                      </a:r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Mean + (2*S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Limit propos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7779975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0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.8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r"/>
                      <a:r>
                        <a:rPr lang="en-GB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10] N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142573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.8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r"/>
                      <a:endParaRPr lang="en-GB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952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20] N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0458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Q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8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[30] N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782016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5E8E68B8-F484-408A-8A39-536BE1EA87EE}"/>
              </a:ext>
            </a:extLst>
          </p:cNvPr>
          <p:cNvSpPr txBox="1"/>
          <p:nvPr/>
        </p:nvSpPr>
        <p:spPr>
          <a:xfrm>
            <a:off x="7561654" y="5872739"/>
            <a:ext cx="85527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n =7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61648FA-08D0-4CC9-853A-348DA6307726}"/>
              </a:ext>
            </a:extLst>
          </p:cNvPr>
          <p:cNvSpPr txBox="1"/>
          <p:nvPr/>
        </p:nvSpPr>
        <p:spPr>
          <a:xfrm>
            <a:off x="277990" y="4558863"/>
            <a:ext cx="4502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 Worst-case is unclear for Q0 dumm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3E9877-F446-491D-ABC3-BF867B85986E}"/>
              </a:ext>
            </a:extLst>
          </p:cNvPr>
          <p:cNvSpPr txBox="1"/>
          <p:nvPr/>
        </p:nvSpPr>
        <p:spPr>
          <a:xfrm>
            <a:off x="695325" y="824136"/>
            <a:ext cx="4895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ck flexion mo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DF997B-E7F2-4341-9DF6-F8E6008D5533}"/>
              </a:ext>
            </a:extLst>
          </p:cNvPr>
          <p:cNvSpPr txBox="1"/>
          <p:nvPr/>
        </p:nvSpPr>
        <p:spPr>
          <a:xfrm>
            <a:off x="5706011" y="4418719"/>
            <a:ext cx="804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10 N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DEA190B-56B7-4131-ACF6-0399DFF0734B}"/>
              </a:ext>
            </a:extLst>
          </p:cNvPr>
          <p:cNvSpPr txBox="1"/>
          <p:nvPr/>
        </p:nvSpPr>
        <p:spPr>
          <a:xfrm>
            <a:off x="8457877" y="3370575"/>
            <a:ext cx="8040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20 N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842FA4A-EE4C-4D18-9117-6FF25CDE57D5}"/>
              </a:ext>
            </a:extLst>
          </p:cNvPr>
          <p:cNvSpPr txBox="1"/>
          <p:nvPr/>
        </p:nvSpPr>
        <p:spPr>
          <a:xfrm>
            <a:off x="9690090" y="2251574"/>
            <a:ext cx="855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30 Nm</a:t>
            </a:r>
          </a:p>
        </p:txBody>
      </p:sp>
    </p:spTree>
    <p:extLst>
      <p:ext uri="{BB962C8B-B14F-4D97-AF65-F5344CB8AC3E}">
        <p14:creationId xmlns:p14="http://schemas.microsoft.com/office/powerpoint/2010/main" val="1070529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BB0CA8-F52A-4CAF-AF61-320B97DB88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9924" y="1575233"/>
            <a:ext cx="11738141" cy="4351338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analysis and limits presented here are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work-in-progress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based on samples from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UK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 Spain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nd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LEPA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nly (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49 CRS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an other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Contracting Parties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vide their anonymised monitoring data to support our analysis and confirm the proposed limits?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LEPA proposes to defer a decision until </a:t>
            </a:r>
            <a:r>
              <a: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May 2021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th the understanding that further monitoring data will be provided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8EAE85-F8C2-4601-89F2-1E67BBBC64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0380" y="358180"/>
            <a:ext cx="7258195" cy="504056"/>
          </a:xfrm>
        </p:spPr>
        <p:txBody>
          <a:bodyPr/>
          <a:lstStyle/>
          <a:p>
            <a:r>
              <a:rPr lang="en-GB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VING FORWARD</a:t>
            </a:r>
          </a:p>
        </p:txBody>
      </p:sp>
    </p:spTree>
    <p:extLst>
      <p:ext uri="{BB962C8B-B14F-4D97-AF65-F5344CB8AC3E}">
        <p14:creationId xmlns:p14="http://schemas.microsoft.com/office/powerpoint/2010/main" val="1342046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3396A5D-5991-4C8A-90CB-2A08AB27C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3498744"/>
            <a:ext cx="12192000" cy="3187806"/>
          </a:xfrm>
        </p:spPr>
        <p:txBody>
          <a:bodyPr>
            <a:normAutofit/>
          </a:bodyPr>
          <a:lstStyle/>
          <a:p>
            <a:pPr algn="ctr">
              <a:lnSpc>
                <a:spcPts val="4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  <a:t>MANY THANKS FOR YOUR ATTENTION</a:t>
            </a:r>
            <a:br>
              <a:rPr lang="en-GB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3600" dirty="0">
                <a:latin typeface="Segoe UI" panose="020B0502040204020203" pitchFamily="34" charset="0"/>
                <a:cs typeface="Segoe UI" panose="020B0502040204020203" pitchFamily="34" charset="0"/>
              </a:rPr>
              <a:t>Acknowledgements:</a:t>
            </a:r>
            <a:br>
              <a:rPr lang="en-GB" sz="36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3000" dirty="0">
                <a:latin typeface="Segoe UI" panose="020B0502040204020203" pitchFamily="34" charset="0"/>
                <a:cs typeface="Segoe UI" panose="020B0502040204020203" pitchFamily="34" charset="0"/>
              </a:rPr>
              <a:t>Vehicle Certification Agency (VCA) &amp; UK Department for Transport</a:t>
            </a:r>
            <a:br>
              <a:rPr lang="en-GB" sz="3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3000" dirty="0">
                <a:latin typeface="Segoe UI" panose="020B0502040204020203" pitchFamily="34" charset="0"/>
                <a:cs typeface="Segoe UI" panose="020B0502040204020203" pitchFamily="34" charset="0"/>
              </a:rPr>
              <a:t>Ministry of Industry, Commerce and Tourism, Spain &amp; IDIADA</a:t>
            </a:r>
            <a:br>
              <a:rPr lang="en-GB" sz="3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GB" sz="3000" dirty="0">
                <a:latin typeface="Segoe UI" panose="020B0502040204020203" pitchFamily="34" charset="0"/>
                <a:cs typeface="Segoe UI" panose="020B0502040204020203" pitchFamily="34" charset="0"/>
              </a:rPr>
              <a:t>CLEPA Secretaria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BFE844-AFCA-4D16-A900-FCCF98318306}"/>
              </a:ext>
            </a:extLst>
          </p:cNvPr>
          <p:cNvSpPr txBox="1"/>
          <p:nvPr/>
        </p:nvSpPr>
        <p:spPr>
          <a:xfrm>
            <a:off x="9248775" y="171450"/>
            <a:ext cx="2943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formal document GRSP-68-XX</a:t>
            </a:r>
          </a:p>
          <a:p>
            <a:pPr algn="r"/>
            <a:r>
              <a:rPr lang="en-GB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8</a:t>
            </a:r>
            <a:r>
              <a:rPr lang="en-GB" sz="1400" b="1" baseline="30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GB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SP</a:t>
            </a:r>
            <a:r>
              <a:rPr lang="en-GB" sz="1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07-11 Dec </a:t>
            </a:r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0</a:t>
            </a:r>
          </a:p>
          <a:p>
            <a:pPr algn="r"/>
            <a:r>
              <a:rPr lang="en-GB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 item 12</a:t>
            </a:r>
          </a:p>
        </p:txBody>
      </p:sp>
    </p:spTree>
    <p:extLst>
      <p:ext uri="{BB962C8B-B14F-4D97-AF65-F5344CB8AC3E}">
        <p14:creationId xmlns:p14="http://schemas.microsoft.com/office/powerpoint/2010/main" val="4146917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QdVViYTSG4q3RgsQ9j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Chapter Slide - Phot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.pptx" id="{00CA06CC-6FC9-4A48-94D7-62FD76B44F17}" vid="{A6AD0A26-BB3C-4978-8565-550F7BF06F0D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hapter Slide - Phot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.pptx" id="{00CA06CC-6FC9-4A48-94D7-62FD76B44F17}" vid="{A6AD0A26-BB3C-4978-8565-550F7BF06F0D}"/>
    </a:ext>
  </a:extLst>
</a:theme>
</file>

<file path=ppt/theme/theme3.xml><?xml version="1.0" encoding="utf-8"?>
<a:theme xmlns:a="http://schemas.openxmlformats.org/drawingml/2006/main" name="1_Default Slide">
  <a:themeElements>
    <a:clrScheme name="CLEPA Colors">
      <a:dk1>
        <a:srgbClr val="67737A"/>
      </a:dk1>
      <a:lt1>
        <a:sysClr val="window" lastClr="FFFFFF"/>
      </a:lt1>
      <a:dk2>
        <a:srgbClr val="67737A"/>
      </a:dk2>
      <a:lt2>
        <a:srgbClr val="EEECE1"/>
      </a:lt2>
      <a:accent1>
        <a:srgbClr val="DBE5F1"/>
      </a:accent1>
      <a:accent2>
        <a:srgbClr val="B8CCE4"/>
      </a:accent2>
      <a:accent3>
        <a:srgbClr val="95B3D7"/>
      </a:accent3>
      <a:accent4>
        <a:srgbClr val="366092"/>
      </a:accent4>
      <a:accent5>
        <a:srgbClr val="244061"/>
      </a:accent5>
      <a:accent6>
        <a:srgbClr val="002060"/>
      </a:accent6>
      <a:hlink>
        <a:srgbClr val="00578E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Default Slide">
  <a:themeElements>
    <a:clrScheme name="CLEPA Colors">
      <a:dk1>
        <a:srgbClr val="67737A"/>
      </a:dk1>
      <a:lt1>
        <a:sysClr val="window" lastClr="FFFFFF"/>
      </a:lt1>
      <a:dk2>
        <a:srgbClr val="67737A"/>
      </a:dk2>
      <a:lt2>
        <a:srgbClr val="EEECE1"/>
      </a:lt2>
      <a:accent1>
        <a:srgbClr val="DBE5F1"/>
      </a:accent1>
      <a:accent2>
        <a:srgbClr val="B8CCE4"/>
      </a:accent2>
      <a:accent3>
        <a:srgbClr val="95B3D7"/>
      </a:accent3>
      <a:accent4>
        <a:srgbClr val="366092"/>
      </a:accent4>
      <a:accent5>
        <a:srgbClr val="244061"/>
      </a:accent5>
      <a:accent6>
        <a:srgbClr val="002060"/>
      </a:accent6>
      <a:hlink>
        <a:srgbClr val="00578E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Default Slide">
  <a:themeElements>
    <a:clrScheme name="CLEPA Colors">
      <a:dk1>
        <a:srgbClr val="67737A"/>
      </a:dk1>
      <a:lt1>
        <a:sysClr val="window" lastClr="FFFFFF"/>
      </a:lt1>
      <a:dk2>
        <a:srgbClr val="67737A"/>
      </a:dk2>
      <a:lt2>
        <a:srgbClr val="EEECE1"/>
      </a:lt2>
      <a:accent1>
        <a:srgbClr val="DBE5F1"/>
      </a:accent1>
      <a:accent2>
        <a:srgbClr val="B8CCE4"/>
      </a:accent2>
      <a:accent3>
        <a:srgbClr val="95B3D7"/>
      </a:accent3>
      <a:accent4>
        <a:srgbClr val="366092"/>
      </a:accent4>
      <a:accent5>
        <a:srgbClr val="244061"/>
      </a:accent5>
      <a:accent6>
        <a:srgbClr val="002060"/>
      </a:accent6>
      <a:hlink>
        <a:srgbClr val="00578E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7.xml><?xml version="1.0" encoding="utf-8"?>
<a:theme xmlns:a="http://schemas.openxmlformats.org/drawingml/2006/main" name="3_Chapter Slide - Phot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.pptx" id="{00CA06CC-6FC9-4A48-94D7-62FD76B44F17}" vid="{A6AD0A26-BB3C-4978-8565-550F7BF06F0D}"/>
    </a:ext>
  </a:extLst>
</a:theme>
</file>

<file path=ppt/theme/theme8.xml><?xml version="1.0" encoding="utf-8"?>
<a:theme xmlns:a="http://schemas.openxmlformats.org/drawingml/2006/main" name="4_Default Slide">
  <a:themeElements>
    <a:clrScheme name="CLEPA Colors">
      <a:dk1>
        <a:srgbClr val="67737A"/>
      </a:dk1>
      <a:lt1>
        <a:sysClr val="window" lastClr="FFFFFF"/>
      </a:lt1>
      <a:dk2>
        <a:srgbClr val="67737A"/>
      </a:dk2>
      <a:lt2>
        <a:srgbClr val="EEECE1"/>
      </a:lt2>
      <a:accent1>
        <a:srgbClr val="DBE5F1"/>
      </a:accent1>
      <a:accent2>
        <a:srgbClr val="B8CCE4"/>
      </a:accent2>
      <a:accent3>
        <a:srgbClr val="95B3D7"/>
      </a:accent3>
      <a:accent4>
        <a:srgbClr val="366092"/>
      </a:accent4>
      <a:accent5>
        <a:srgbClr val="244061"/>
      </a:accent5>
      <a:accent6>
        <a:srgbClr val="002060"/>
      </a:accent6>
      <a:hlink>
        <a:srgbClr val="00578E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Default Slide">
  <a:themeElements>
    <a:clrScheme name="CLEPA Colors">
      <a:dk1>
        <a:srgbClr val="67737A"/>
      </a:dk1>
      <a:lt1>
        <a:sysClr val="window" lastClr="FFFFFF"/>
      </a:lt1>
      <a:dk2>
        <a:srgbClr val="67737A"/>
      </a:dk2>
      <a:lt2>
        <a:srgbClr val="EEECE1"/>
      </a:lt2>
      <a:accent1>
        <a:srgbClr val="DBE5F1"/>
      </a:accent1>
      <a:accent2>
        <a:srgbClr val="B8CCE4"/>
      </a:accent2>
      <a:accent3>
        <a:srgbClr val="95B3D7"/>
      </a:accent3>
      <a:accent4>
        <a:srgbClr val="366092"/>
      </a:accent4>
      <a:accent5>
        <a:srgbClr val="244061"/>
      </a:accent5>
      <a:accent6>
        <a:srgbClr val="002060"/>
      </a:accent6>
      <a:hlink>
        <a:srgbClr val="00578E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point template 2018 - Blank" id="{DF1BBAD5-E2EB-4D5F-ABCC-381341D384E7}" vid="{4BD42BF5-4BDD-4CB7-B758-E20434490FC1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F28DC0697F2946967019A6C2D9957F" ma:contentTypeVersion="13" ma:contentTypeDescription="Create a new document." ma:contentTypeScope="" ma:versionID="17c92271807e1ae9c68aba83e4a62845">
  <xsd:schema xmlns:xsd="http://www.w3.org/2001/XMLSchema" xmlns:xs="http://www.w3.org/2001/XMLSchema" xmlns:p="http://schemas.microsoft.com/office/2006/metadata/properties" xmlns:ns3="145f47db-c14e-4b38-9bf8-0ca0ef7f6396" xmlns:ns4="21dbf145-ec6f-4074-a11c-49f272c036cd" targetNamespace="http://schemas.microsoft.com/office/2006/metadata/properties" ma:root="true" ma:fieldsID="261b978d88a285d498d7334e80599cc7" ns3:_="" ns4:_="">
    <xsd:import namespace="145f47db-c14e-4b38-9bf8-0ca0ef7f6396"/>
    <xsd:import namespace="21dbf145-ec6f-4074-a11c-49f272c036c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5f47db-c14e-4b38-9bf8-0ca0ef7f63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bf145-ec6f-4074-a11c-49f272c036c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AE2FA59-3701-4695-AE1B-51DE05A8AC53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21dbf145-ec6f-4074-a11c-49f272c036cd"/>
    <ds:schemaRef ds:uri="http://schemas.microsoft.com/office/2006/documentManagement/types"/>
    <ds:schemaRef ds:uri="http://schemas.microsoft.com/office/2006/metadata/properties"/>
    <ds:schemaRef ds:uri="http://purl.org/dc/elements/1.1/"/>
    <ds:schemaRef ds:uri="145f47db-c14e-4b38-9bf8-0ca0ef7f639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6026197-59E7-49DC-8A6A-7B1AD0D11FC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86673B-F97F-45A7-B141-28A0E4FDC2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5f47db-c14e-4b38-9bf8-0ca0ef7f6396"/>
    <ds:schemaRef ds:uri="21dbf145-ec6f-4074-a11c-49f272c036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678</TotalTime>
  <Words>494</Words>
  <Application>Microsoft Office PowerPoint</Application>
  <PresentationFormat>Widescreen</PresentationFormat>
  <Paragraphs>105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3" baseType="lpstr">
      <vt:lpstr>Raleway</vt:lpstr>
      <vt:lpstr>Arial</vt:lpstr>
      <vt:lpstr>Calibri</vt:lpstr>
      <vt:lpstr>Segoe UI</vt:lpstr>
      <vt:lpstr>Segoe UI Black</vt:lpstr>
      <vt:lpstr>Chapter Slide - Photo</vt:lpstr>
      <vt:lpstr>1_Chapter Slide - Photo</vt:lpstr>
      <vt:lpstr>1_Default Slide</vt:lpstr>
      <vt:lpstr>2_Default Slide</vt:lpstr>
      <vt:lpstr>3_Default Slide</vt:lpstr>
      <vt:lpstr>Firm Format - template_Blue</vt:lpstr>
      <vt:lpstr>3_Chapter Slide - Photo</vt:lpstr>
      <vt:lpstr>4_Default Slide</vt:lpstr>
      <vt:lpstr>5_Default Slide</vt:lpstr>
      <vt:lpstr>think-cell Slide</vt:lpstr>
      <vt:lpstr>EXPLANATORY PRESENTATION TO CLEPA NECK LOAD LIMITS PROPOSAL </vt:lpstr>
      <vt:lpstr>BACKGROUND</vt:lpstr>
      <vt:lpstr>ANALYSIS METHOD</vt:lpstr>
      <vt:lpstr>ANALYSIS METHOD</vt:lpstr>
      <vt:lpstr>PROPOSAL</vt:lpstr>
      <vt:lpstr>PROPOSAL</vt:lpstr>
      <vt:lpstr>MOVING FORWARD</vt:lpstr>
      <vt:lpstr>MANY THANKS FOR YOUR ATTENTION Acknowledgements: Vehicle Certification Agency (VCA) &amp; UK Department for Transport Ministry of Industry, Commerce and Tourism, Spain &amp; IDIADA CLEPA Secretaria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en Mc Millen</dc:creator>
  <cp:lastModifiedBy>Edoardo Gianotti</cp:lastModifiedBy>
  <cp:revision>69</cp:revision>
  <cp:lastPrinted>2020-07-21T09:40:56Z</cp:lastPrinted>
  <dcterms:created xsi:type="dcterms:W3CDTF">2018-10-10T14:59:53Z</dcterms:created>
  <dcterms:modified xsi:type="dcterms:W3CDTF">2020-12-01T16:4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F28DC0697F2946967019A6C2D9957F</vt:lpwstr>
  </property>
</Properties>
</file>